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heme/theme2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</p:sldMasterIdLst>
  <p:notesMasterIdLst>
    <p:notesMasterId r:id="rId9"/>
  </p:notesMasterIdLst>
  <p:sldIdLst>
    <p:sldId id="355" r:id="rId2"/>
    <p:sldId id="356" r:id="rId3"/>
    <p:sldId id="357" r:id="rId4"/>
    <p:sldId id="359" r:id="rId5"/>
    <p:sldId id="360" r:id="rId6"/>
    <p:sldId id="362" r:id="rId7"/>
    <p:sldId id="346" r:id="rId8"/>
  </p:sldIdLst>
  <p:sldSz cx="9144000" cy="6858000" type="screen4x3"/>
  <p:notesSz cx="6858000" cy="9144000"/>
  <p:custDataLst>
    <p:tags r:id="rId10"/>
  </p:custDataLst>
  <p:defaultTextStyle>
    <a:defPPr>
      <a:defRPr lang="lt-L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827" autoAdjust="0"/>
    <p:restoredTop sz="98347" autoAdjust="0"/>
  </p:normalViewPr>
  <p:slideViewPr>
    <p:cSldViewPr>
      <p:cViewPr varScale="1">
        <p:scale>
          <a:sx n="74" d="100"/>
          <a:sy n="74" d="100"/>
        </p:scale>
        <p:origin x="1254" y="7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EF7A417-BF7A-47EA-A7D1-E27026A9A389}" type="datetimeFigureOut">
              <a:rPr lang="lt-LT" smtClean="0"/>
              <a:t>2016-09-07</a:t>
            </a:fld>
            <a:endParaRPr lang="lt-LT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lt-LT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lt-LT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4EEEF7-1FE9-45CB-8DC2-6F0A50C3E7F2}" type="slidenum">
              <a:rPr lang="lt-LT" smtClean="0"/>
              <a:t>‹#›</a:t>
            </a:fld>
            <a:endParaRPr lang="lt-LT"/>
          </a:p>
        </p:txBody>
      </p:sp>
    </p:spTree>
    <p:extLst>
      <p:ext uri="{BB962C8B-B14F-4D97-AF65-F5344CB8AC3E}">
        <p14:creationId xmlns:p14="http://schemas.microsoft.com/office/powerpoint/2010/main" val="193810010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image" Target="../media/image4.jpeg"/><Relationship Id="rId3" Type="http://schemas.openxmlformats.org/officeDocument/2006/relationships/tags" Target="../tags/tag3.xml"/><Relationship Id="rId21" Type="http://schemas.openxmlformats.org/officeDocument/2006/relationships/slideMaster" Target="../slideMasters/slideMaster1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image" Target="../media/image7.jpeg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image" Target="../media/image2.png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image" Target="../media/image1.emf"/><Relationship Id="rId28" Type="http://schemas.openxmlformats.org/officeDocument/2006/relationships/image" Target="../media/image6.jpeg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oleObject" Target="../embeddings/oleObject1.bin"/><Relationship Id="rId27" Type="http://schemas.openxmlformats.org/officeDocument/2006/relationships/image" Target="../media/image5.jpeg"/><Relationship Id="rId30" Type="http://schemas.openxmlformats.org/officeDocument/2006/relationships/image" Target="../media/image8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25.xml"/><Relationship Id="rId4" Type="http://schemas.openxmlformats.org/officeDocument/2006/relationships/tags" Target="../tags/tag2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1668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6" name="think-cell Slide" r:id="rId22" imgW="270" imgH="270" progId="TCLayout.ActiveDocument.1">
                  <p:embed/>
                </p:oleObj>
              </mc:Choice>
              <mc:Fallback>
                <p:oleObj name="think-cell Slid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/>
          <a:p>
            <a:endParaRPr lang="lt-LT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Rectangle 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1" name="Rectangle 6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0" y="45720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16" name="Subtitle 2"/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250353" y="5229200"/>
            <a:ext cx="6400800" cy="625624"/>
          </a:xfrm>
        </p:spPr>
        <p:txBody>
          <a:bodyPr>
            <a:normAutofit/>
          </a:bodyPr>
          <a:lstStyle>
            <a:lvl1pPr marL="0" indent="0" algn="ctr">
              <a:buNone/>
              <a:defRPr sz="2800" b="1">
                <a:solidFill>
                  <a:schemeClr val="tx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2" name="Rectangle 1"/>
          <p:cNvSpPr/>
          <p:nvPr userDrawn="1">
            <p:custDataLst>
              <p:tags r:id="rId9"/>
            </p:custDataLst>
          </p:nvPr>
        </p:nvSpPr>
        <p:spPr>
          <a:xfrm>
            <a:off x="0" y="1196752"/>
            <a:ext cx="4139952" cy="3562351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t-LT">
              <a:solidFill>
                <a:prstClr val="white"/>
              </a:solidFill>
            </a:endParaRPr>
          </a:p>
        </p:txBody>
      </p:sp>
      <p:cxnSp>
        <p:nvCxnSpPr>
          <p:cNvPr id="20" name="Straight Connector 19"/>
          <p:cNvCxnSpPr/>
          <p:nvPr userDrawn="1">
            <p:custDataLst>
              <p:tags r:id="rId10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442" descr="C:\Users\Vartotojas\Desktop\image001.png"/>
          <p:cNvPicPr>
            <a:picLocks noChangeAspect="1" noChangeArrowheads="1"/>
          </p:cNvPicPr>
          <p:nvPr userDrawn="1">
            <p:custDataLst>
              <p:tags r:id="rId11"/>
            </p:custDataLst>
          </p:nvPr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105" y="6503703"/>
            <a:ext cx="2038095" cy="266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Rectangle 20"/>
          <p:cNvSpPr/>
          <p:nvPr userDrawn="1">
            <p:custDataLst>
              <p:tags r:id="rId12"/>
            </p:custDataLst>
          </p:nvPr>
        </p:nvSpPr>
        <p:spPr>
          <a:xfrm>
            <a:off x="5940152" y="6453336"/>
            <a:ext cx="3168352" cy="2666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200" i="1" noProof="1">
                <a:solidFill>
                  <a:srgbClr val="1F497D">
                    <a:lumMod val="75000"/>
                  </a:srgbClr>
                </a:solidFill>
              </a:rPr>
              <a:t>Research and consulting alliance</a:t>
            </a:r>
          </a:p>
        </p:txBody>
      </p:sp>
      <p:sp>
        <p:nvSpPr>
          <p:cNvPr id="3" name="AutoShape 2" descr="data:image/jpeg;base64,/9j/4AAQSkZJRgABAQAAAQABAAD/2wCEAAkGBhISEBQUEBAUFRQVERUVFxcYGRkWGxsaFxgZHBcYFRYcHSYeGhkkGRMUIDEgIykrLCwsFx8xNTAqNSYrLCkBCQoKDgwOGg8PGjUjHyIsNTQwLCksLTQyLC0xNS0qKiksLC81LCwvLiwsLSkqLzAwLCwvLCwvNDQtLC0uKiwsKv/AABEIAPkAygMBIgACEQEDEQH/xAAcAAEAAgIDAQAAAAAAAAAAAAAABgcEBQECAwj/xABUEAACAQMBBAQGDAoIAwgDAAABAgMABBESBQYhMQcTIkEUFjJRYXE0QlNUcoGSobGy0dMXIzVSYnSCkZPSFTNDVXOUs7QIouEkJWN1g6PC8ETBw//EABsBAAICAwEAAAAAAAAAAAAAAAAFBAYCAwcB/8QARBEAAQIDAwcHCQcDBAMAAAAAAQACAwQREiExBRNBUWFxsQYiM4GRodEUFRYyUlNyksE0NUKi0uHwYrLxJFST4iOCwv/aAAwDAQACEQMRAD8Ap/Y+yxOWBYrpAPLPP4/RWz8Ul91PyR9teW6flSepfpNSSlUzMRGRC1puV+yLkiTmZNsWKyrjW+p1nUVoPFJfdT8kfbTxSX3U/JH21v6VH8ri6+CceYMn+773eK0Hikvup+SPtp4pL7qfkj7a39KPK4uvgjzBk/3fe7xWg8Ul91PyR9tPFJfdT8kfbW/pR5XF18EeYMn+773eK0Hikvup+SPtp4pL7qfkj7a3jzKCASAW5Z7/AED08a69ep1AMCV547ufP08Ky8pj6+5azkXJgNLArqtHfr1X7lpfFNfdT8kfbTxTX3U/JH21Z26XRrb3NhBcS3F0HkiDNpkQLnjyBjPDh5603R5uFLd9cNoC8g0LEY/7LVq16z20OoDSnLz+movnZobEdnOjNDdtpdrVY8oyR/tz8x/UoV4pr7qfkj7aeKa+6n5I+2ptt/cSSLaMNvALx7Z2txJLjVo1yMJMyBNK4XSeI7622+PRitvaNJZvezTB4wEyJMgsNXYWME8M1751bWGM56+F3HUvc/kj/bn5j+pVn4pr7qfkj7aeKS+6n5I+2rT3c6LIprOKW4mvEmaPMia1XS3HI0mPIxjkarvZd3/2dGkbnkFj8I4ye6tkLKDoxeIb62TQ3b/AqbIwslTbywQS2grUuOwa9qwPFJfdT8kfbTxSX3U/JH21vOuXVpyNWM478ef1ca71sM1GGnuCdjIWTXYQ/wAzvFaDxSX3U/JH208Ul91PyR9tb+leeVxdfBZeYMn+773eK0Hikvup+SPtp4pL7qfkj7a39KPK4uvgjzBk/wB33u8VoPFJfdT8kfbTxSX3U/JH21v6UeVxdfBHmDJ/u+93iovtHd4RRs4kJxjhjHMgef01pKmW8Hsd/wBn6wqG0ylIjojKu1qkcoJSDKTIZBbQWQdONTrW/wB0/Kk9S/SaklRvdPypPUv0mpJS6c6Uq58nPu9m88SlKUqKn6UpShCUpWw3V3YuL/rzFLDGIZAnbV2JyM5yGFYuc1jS95oBp7lBnJ6FJtDouBNLlh7KvI47pHuYS8CZ1eQQdalG1q39mFdieGSQMYxmu23rmF7mRrOLTAeyB2AuIxoVogvtGC5weOSTk54ddjbFuLq/mslkhV4TMGYq5B6p1TgA2RnVn4q52zsC4tL63sjJCWmEQVgrgKHkMYyC2TjRmsqw87S1zrOFTSzjX6qpunZIznlWcdhqHZhhS7XXSpnud0jWNrs63iuGlV44gr/iZCAcn22nHfUxsLmCMZhs5UDAeTDpyO7PI954emqj3u3SnshEJ5IZUnZ0wqupGldWclj6K32wLpVitousAzFs9fZV2hHXpHqURrKFDdskAaQBp4HjpSTUhAitz0FxNskml4x/9cDvSCZhwoYa6C6001F4oaim/QQrAmmhdxI9lIzjGGMQJGk5GDz4GveTaisMNbTkf4Z+2qzTbzmO7OH1RND1Z8JvMASSMhDDr+0QFznhxPLurLttrBgmX0lltsg3d6CDLKY24dcRgadeCRhWHlYqGclkYk3XcDr2rCLBiQhV4pfTrpXgVJJukrZ8ReImVWQlWUQS9lu8HC4zxz8dUxsdWWOANG+kOHfGkMNL6gFD8NRIHEjA8x5VsN0NhS3c7W8Dxxnq5ZizhmziYJjgQc9ocfRWbtHdy5h2jDYmaAvMqsHCPgA9ZzGrJ/qvnqwS0vLybnwmOvItGp0Ct9w2k4lNpR0pAac7EdVzaEADB1DSprouwXpvNtK0mkjbZ1uEVUGsAIiZlCyNgLxEikqpzw7OBjTWBWTvhuxPsuNGklgcSNIAFV1w2ktxy3efprM3j3MurOya6aeB1URnSEcE9YyqMEtjhr+as2PghkMMfUONGkk1Jr4ppk7KknJQc3aJ13YHTTYtVSlK2K5JSlKEJSlKELXbwex3/Z+sKhtTLeD2O/7P1hUNpxI9Gd/gub8qvtjfgHFy3+6flSepfpNSSo3un5UnqX6TUkqDOdKVaeTn3ezeeJSlKVFT9KUpQhKlHRTehGvUKzM/WpJpjxnTpxqxqBPEd2e7z1E55wilm5D7a7RbUktJo7qE9uNgCvdIjEBo29eeHmPGsI0Ax4LoY/FhvFDT6Ku5fgZ+XNk3s5xGy8ePYrP8aLGGBbo+GLDJIwRj1hBd2ctiMsSCWVz5Pnrs+81lLCt1i8aEyIisvWYLrJ2AY1bJPWYAyvE49FafpbSXq7Zyv4mFi0xHJXlGmNj+iDryfO6+eu3RgZE2dcOYiY+ukuYFPAuECltPDgC8fA+mkPk8PyYTIJqXUpa0VwrrpR26+iombGat2hWtKacAa7tC1vSttBWktIsSq6mWQrJg9goVDcCcDII41st3tp3S29ssbTiEQ7OGVtw64ZYuuHWaTwCEktxwSRw0jNdXk8l2JbiV8y3AySOSr7WNfMoAAqwtiXdqYLcNYbKEjRW4CM5DkyohTsm1diT1i+2byuLHnTKPLiDLshUtEY4G/E400mn+VIm5d8CDCD/xVd20FOwA9exeC7rHTMOuA67qs5hnyvVuz44Jg8Wx8VZ2zZ7uCMRRNP1a9SMrbah2pnEpBZNX9VobBBxqwdNcLtSzKTONnbMxCyh/Lz2mKrpHgWWBYEZGeVei31mQD4DsntBCoLkMQ/k6UNlqJzkYA4EEHiKiPMV1z2E3jEMxu26qdS0Ro0Z4pEwrXCl9AOFFDOja/SLaI16/xtvPGgTmz9eG0gkgeSjHn5qsqTbtuXnLJeBrYK83F1CgKXViNeluypPDPIeiqdlTresdEWAmdpI1iyFiZTgaDz5rnhgcTgDhiyrnaVxfbvvKsY8IuIShC83WMkSFRj2yJKQv6QFScpwA+K2KTS0Q030oa1rtFK9Yrgt85LPhNhxDg9oI6gB4HrWx2fvdZ3uvqPDHMS6m060IVv2lLA6O7PKtH0ibail2MTEtwFnMAhL8A/4xWGFLaj2UJHDuz6a1XRSWa+M0K5g8HEMjcgGcho1HnYFePmDDzjOBvdfSTX8iSDSlmeohjHIdkZlxyywxjzAAd2a1wpJkKcDWk0ZR157qa603ArKHI56a8mhuBBPrDViT2d619K84pwxYD2rYP7gf/wB4+I16U2IIxXUGPa8Vaa/yiUpSvFmlKUoQtdvB7Hf9n6wqG1Mt4PY7/s/WFQ2nEj0Z3+C5vyq+2N+AcXLf7p+VJ6l+k1JKje6flSepfpNSSoM50pVp5Ofd7N54lKUpUVP0pSlCFk7u3ltBdartGlTq2dUGtiGBC4VQQpBDse3y08DnAPlsSyiudqwRwk9T4YWC5kIEdv2xnrDqywVc5xgtjAryxUm6LrXN9dXGMi3tlQDztIdXA+fTHj9qtceJmoUSKCa2aY3VwF28hUvLMkJdr5gO9c0pfTXr2O2X3AUW0sdsy3e19oWxAey0dVNq8mPQoViDy1M3WjH6Or2uDkw7wyx7bgtmj6q0a1aO3TkGGkMH9BHVaNJ4gEfnVHt5phaQHZ0D5mlJmv5geJaTiYwe4t5u5Mc9RrI3UvvC447WZh4XZOtxaSN/aRoRlGPedI0MPNpbB0mljpdphmJZ5lmyNdKWRF7abbN6q3k0YQRHs82tK7f51VuUTmseoluLf3G4lRfgZ1IfjVhU53dliEFsGe8D9VsvgiRmI9mLqhqKnsmTUCWIOdeOVaDpUg6jaEkqLkXFokg9LR9g/wDJoNbnZFra9RCTtew1CK34lpAQYVTq+z4Wg4FFOCg45yO6pUd4iy7Irq86mAJvurgDpqps9MCLLy7dLQR30HcFqEspdF4OplzIbfR+Lc6tMzs2k6cHCkH463mxiiwoHa8WQC17EccZThcyGHJZcg9drB1FeIwOVZeYe7b1qB5hPOAPQAL/AAB6K8TZ2hOTtewLdjtdZLnsMXU58P4nWzNk5yWOajPjtiAh1cQfVdooNWxRpicdHbQgY17gPoqzeXTbuRzzIBjzl2Ax8ZFWTtbaNxYz7JsbMa5Eh/GR8g64VG1H2vkzPq7tNQrd7Zwl2hb2yyJKgvmYyIDodIsysQCOWez5sjgTzqf737RFjJNdjD3lyBbWq89EcYGtj6NZZz+wPPUuecHRmQrNokOIB0k80V1AC0TqA1qVlCNn8yxl9ljR10/wsTf3aklhBbvZRCO2a86+YqMNrVw5icd2plfJ/QC8AOOg6U7IR7R65WISe1SbIJAZoeyQcEEgpo5EHjzFdN09qrGXs79jLaXhIZnOSkz+3LHkHbBz7Vgp4cSd30ibFaPZ9k0h1vaTC3Zsc42XQHI7s6ITjuLGtUECVmIcM4m0LXtA3gnaHCh6ta0sgxJWaDIooQRXcbsRsOhRzeG+spI7ZLWNo5ANDtmYZHak/FFjh1Mkko1ONXLAwQRh1wR565pgAGtDRXrNe9dCydIeRMLbVqpxPDtqetKUpQmaUpShC128Hsd/2frCobUy3g9jv+z9YVDacSPRnf4Lm/Kr7Y34Bxct/un5UnqX6TUkqN7p+VJ6l+k1JKgznSlWnk593s3niUpSlRU/SlKUIXexs559fg9rNKEbQzIFIBwDjiw7iKlmyJZtl7Hnmkt3FxJc69LKcLqZUi6xhw0gqDgHjqx38Pfon2xBDHdiaeKMm6yA7qhI6tOIBI4Vt+kHaNvdbPkhgu7UyM8RAM8ajsyKxydXDgppRMzL3TIlnM5lptTfhcb9FFzPKc/GmHmHENzXGnDgq02ds+5m6xoraec9a3WyKFOqRgGYklhx7YPx143/AF9tNGWilt7hB10RcL7XnyY5U8QQedWB0b7Ut7OK4S6vLSN2uesA8IiYaTFGBhsjPFTWm6RDHe30b2lzaOI7QqxNxEgy7vgA5OSMZI9I89TYc29006E5nMp619MOyhwW52Vi45gkZmtKU/Do2171mb0wTbR2fYXMNrL1q6sxgf2cqEEqx4FexGRxzg+ut1ubswvCqF2RorOzAACkBjD29SEFWOocc8eHMVsN0Nu2sVhaxyXdsHS3jRh10fNVAPtvOK77mMC0hBBBgtCCOIIMZwQfNSKPMRGwokINoGE063bdHikloloaTd4geAVf3m+N00rMrRx4YgIsaFBjhx1Lls448c8eGKntvCZLaC5Y4aV7V9C4CKsssWUwFBfsOQS2cnJGOAFUy+U3wm+k1bmz/wAl2Xwdn/6kFTMphsIQ7ApzqXalYcsSkGDBgOhtoSL9twx7VD9wtgTwX09zNbSBEimEPZzrMkpfKY5dgKOOPKqGy7XlvboSGJ5JZtUcMSYJSOLJKjJHHgzE95zV22e8losaK13bhgqggyxgggcQRq4H0VT+5dsLe8sbie4tVhDzHV4RGSOuikK60z2O4ce8gVIk5h0Qxo0RlHAUGN9A40G8gVolEvNZl5i15wAs1GmrR3NrjxXjtPYtykLtPYXCxKpLkhMAd5PbqU7E2hLtHZN7Zyq8ksKBEkwT1jKNUOojk4MaKSefA551Jd8d4bO4sLiGG/tDJLEUUdfFzYgD21aXoykjs/CvCbq0UyyI6hbiJxjSRzB55FanTT4soYr4dHtcC0X1uLb779dVsm5584KxiLQwoNF9e+n8qoVfbPuoIjLcWU6IoXWxC4GSB+dnyiB8ddKsbpR2/aybJuUjuoHciLCrIjE4mjJwAcngDVc1Ok5h8xBzj22TUil+oHTvVvyFPxpvOCKa2aU66+CUpSpSsiUpShC128Hsd/2frCobUy3g9jv+z9YVDacSPRnf4Lm/Kr7Y34Bxct/un5UnqX6TUkqN7p+VJ6l+k1JKgznSlWnk593s3niUpSlRU/SlKUIUh3MEhtblUzolvupk0Rs8oV4F7ULA4UjB4sMDOcjGDKbm7upIISwwJHckQ20gmTqW1KWDMRjMYVgVGdYA51ENx94bG2W4W9WTU1xqXSkjDToUc14cwaltnvhsmV9EaSs2lmx1cq9lASx7WOQBpTOiKIxIhEgX1simGvs7FySbYc/EJ9o8Uv767aK3cqG1Qm5C29vLqEkekiKUFyerPWAEYDEo2B5uds310jIx0P1cKTqYbeXq8vqRvCO0xMYBZgF7XDJHZyfbau8OzbYariKVF16MlJCNWkMFJUnBKkEeccs4NYPj5sbzS/wp/sqHDEYgObBJF+DRfX9rlGDScFnX9xdLdAdklHjiDJbydRicrq64ayda6FIKtgBgCRr4Zu5o7cv+Baej+zburSePmxvzZf4U/wBlarZO91hGgIvr+N2RAyrCCBoGFVcwHgAcc8+cmh0rHiwSzNkGgHq4310V1HtWVhwOCjclnKWJFvOQWOCIZSDxPEELgj0irXsPyXZfB2f/AKkFReDfewRVVNpbRCqAAOpU4A5Djb15jfDZ3VrH/SO0NCaNI6leHVkFOPg+eBVf3VJnIUeZs/8AjIoa4O/SmM3PRppjGPb6ouoDs2nUtttC4uEkTQM9XHE8emCRo/x2Y28KIbLBMF+zjuJAxXrd3F0t5jgSsiQKy28nUaZtDFpe2T1oKoAQ2kZ441cNbab87IEaB+uLBRkmKbJOOJOBjJPmr18fNjfmy/wp/srQYccGmZcaAj1R28e1Ls25Z0dxdeGY4ZaUwFvB5PB9CK0gde3kS9oxkltJIxxxg9Nmz3TXBHZDSdarM9vJ1AMBKL4P2wcvnWdTcQpxnGa67O3s2VOziGOVzGmp/wAXKNK+clsDn3cz3V7bT29s23AM8MqZcoOw7ZZQCRhSTwBFajna2M0akUpZFd9Ow9Sxoonvbdzvs266wFRJFFO2uGRe0ZoU02zE4WJQEOGBY6s4GrNRupJvzvXs2ewmitVl65tGnMco5SITxIx5Iao3T6VDszzmFvONxFNDVcuS7S3O1/p/+kpSlb1ckpSlCFrt4PY7/s/WFQ2plvB7Hf8AZ+sKhtOJHozv8FzflV9sb8A4uW/3T8qT1L9JqSVG90/Kk9S/SaklQZzpSrTyc+72bzxKUpSoqfpSlKEJXax2gLa7tbg+TFOBIfNHINDn9zV1rznhDqVbkRg16KG52BuO43FQp+W8pl3wtYu34jvVvbSsEbUjxLIujq5IyNQeJeKOFHEugYeT2sN2clQpiN70bxYDWt60CEZVZgJoSO7q58jC+YEk+gV23I3nM0aWkzhbuAARFjpW4iXyAH5rKvceJ58wXFTCCTtnTqSUk6lUrFKeHEtE+YpT/wCIpwe7lVeLo8m4sBpwI0G+optpdhu5e18WXebJLXC6647lAW6Mtp4ykllIOGCHlH/xx89Pwa7U/Mtv4rfd1YLWYbIeBNXMGS0D+YHJRsEnHdj5q6f0OvuNr/kX+8rIZUi6S35T9CpoytOjCIe7wUB/BrtT8y2/it93T8Gu1PzLb+K33dT7+h19xtf8i/3lP6HX3G1/yL/eV750f7Tfkd4r3zxPe8Pd4KADoz2qT/8AhqMczJIfoSsiz6LpnbFzfoMc47VS7erW3kesip0LTQMCKLiw/q7Nl9ecuR8ddbteGJs6SOCzvGiekCCHjL8BudY+c47jRrh1Nv6q1WqJlKbiCjoh7acKLSbP2ZbQoot4wltE/WFiciaVO0Gd+ciR4Ls/kgqFXODiJ773Za7ghPOGB5ZB3iS6fWVb0hAv76l+8u3orWMSXGTnHVxEaZJ2U9hEh/sbYNpJzxbADZ9vWiPI7ySznM0zmSQ92TyUfogcBU6Ra55MZ3VXScDvuJrvA0ECXkOUdHmmupzWXn6DtXpSlKYrpKUpShCUpShC128Hsd/2frCobUy3g9jv+z9YVDacSPRnf4Lm/Kr7Y34Bxct/un5UnqX6TUkqObp7KvJ2kFjD1pVVLjKjAycc2HpqSeKO2/ePzx/eVBnHQxFNqI0HUXAFT8j5alpWUbCiVqK4DauKVz4o7b94/PH95TxR237x+eP7yotuD71nzBNvSST1O7FxSufFHbfvH54/vKeKO2/ePzx/eUW4PvWfMEekknqd2Lilc+KO2/ePzx/eU8Udt+8fnj+8otwfes+YI9JJPU7sXhdWiyDDDkcgjgQfOD3VtrPfHaMSdW0kV3EOSXKaj8scWPpbNYHijtv3j88f3lPFHbfvH54/vK8c6A8WXxGEbXNu3aupLZvKGSps2ojHV1gUP79akUHSZKhydlJ5On8XcGMfu04xXt+FmX+6m/zh/lqL+KO2/ePzx/eU8Udt+8fnj+8qOZaQOJZ/yH9SV2ck+1E7G+ClH4WZf7qb/OH+Wn4WZf7qb/OH+Wov4o7b94/PH95TxR237x+eP7yjyXJ+tn/If1Lyzkr2onY3wUim6T5WORspfJI/GXJccfRjFYE2/W0WGIVtbQHvij1P+9sitZ4o7b94/PH95TxR237x+eP7ys2wZJuBZ1vrxJWxnmhpq62d9PpReC25LmSV3llbnJISzH1E8hXtXPijtv3j88f3lPFHbfvH54/vK3mJCOMVnzBPYGXcnwGWITSBsauKVz4o7b94/PH95TxR237x+eP7yvLcH3rPmC3ekknqd2Lilc+KO2/ePzx/eU8Udt+8fnj+8otwfes+YI9JJPU7sXFK58Udt+8fnj+8p4o7b94/PH95Rbg+9Z8wR6SSep3YtbvB7Hf9n6wqG1Md4tgbTht2e7teriyoLZXmSMcnJ5+iofTiRsmGbLgb9Bqqdl2dhzkwIkKtA0C8bT4q2v8Ah7/r7v8AwovrNV21SX/D3/X3f+FF9Zqu2ueco/t79w4BL4PqJSlKr63JSlKEJSlKEJXlcXSRjVI6oPOxCj95qt+kLpHmjuDZWBCyKAZpiAdGRnSingWwV4nPPHPiIfsfcq72iDPHDJdDJXr55dKsQeIj1HLAHhkDHDGassjyfizDBEebIN4AFTTXoArov6luhwbTbbnBrcKu066AVJpuptV0S712SnDXtsp8xmjH/wAq6eONh7/tf48X81VZ+Bu+94wfxl+yn4G773jB/GX7Kaei7Pad+XxWeage/b2P/SrT8cbD3/a/x4v5qeONh7/tf48X81VZ+Bu+94wfxl+yn4G773jB/GX7KPRdntO/L4ozMD37ex/6VafjjYe/7X+PF/NTxxsPf9r/AB4v5qqz8Dd97xg/jL9leF90VXUMbSTWttHGgyztOgAHpOKPRdntO/L4ozUD37ex/wClW1442Hv+1/jxfzVsbK/jmTXDIkiEkakYOuRzGoEivmm42LJohfwRYYpy4jlYZ1hACWjU4OnDLhiMHPoqyugePTFeoCSFuVA+JSM/MKgZRyFDlJd0UPNRS4gaTTQtUSEWgPaQ5pNKiuIvpfQ9ytOlKVVVrSlKUISlKUIUE6a/yRJ/iw/XFfOVfRvTX+SJP8WH64r5yrpPJb7EfiPAKHH9ZW3/AMPf9fd/4UX1mq7apLoN/FbQvISMYiPA8/xcoX1e3+irtqr8oxSfduHBboPqpSlKry3JSlKEJSlKEL5430mK7Yv+wWQsgbTxIzGvHHeOdeOyN4ZoYglrtC8jiBOEQvpGTxwNJA48fjrO3o/LG0Phx/UFYvRxHZsf+3siwiCZsvI0eGDJgx6SCz4J4Djjl5j1KDFzcq14rc1uGJ5upNoZZDlIbojQ4c43jCjgLiCLjWt9VkeN97/ed/8Avf8Akp433v8Aed/+9/5KbxKi3s4seoMAMejQ7Mv9WucMMjVnOePOsDVP+bF8pv5a2tmHuaHVN4BvIrfffcm0rJS0xCbEzQFf6HHvtLP8b73+87/97/yU8b73+87/APe/8lYGqf8ANi+U38tZuwkVry3W8EAgMjdZqkZFwI3I1NgY4gEceLACh0w5oLiTcK3EaF7MyMtAhOiZoGn9Dh32lxLvpeKpY7Uv8Aedh9KYrfdGkUu09oBNqSzXEUUDXEUUrll1B40UyLybg5OP+oOj6QUslP8A3e0bRG1RiUdpCW63iZckkPjGM8cE55Cpb0OH/vZ//L3/ANaGpEpMGIGuvvr62IokM1CgxZZ0ZjQ2gFANrnNvvPs962vTmPxmz8fnXP1I613Qb5N/+tD6Grp0zbdjubm3itZAz2xm618ZRTIEAUHkzjScgcByPHIrt0FLhL4ZJxcqMnmeDcT6aV8oaeSxL/Z4rQA4SUMFpAL3Guu4C7sVpUpSuaKOlKUoQlKUoQoJ01/kiT/Fh+uK+cq+iOnCbTsoj86eJfpb4/JqprHcV5Io3EUh1xq2Qy+2APD99dK5LikkfiP0UOP6ymO7I8F3suojw62S5A9T/jl5egCroqnOl5PAd4LW8AwjiF2PnMTaJB/D0fvq4gaR8q4NmYZE9ptOsf5C2QDdRc0pSqipCUpShCUpShCoDej8sbQ+HH9QVG9m+wX+DJ9BqSb0fljaHw4/qCo5s32C/wAGT6K6nLdAzczgrNk/oIfwReIW62FsuOed1lLhViL9knOEiZyAMgZOn56zv6M2d+dd/wDL95Xnul7Im/VZv9rJXhWiI5+cIDiBQYJ1LykOM51oa9A9p2zYFl/0Zs7867/5fvKw9u7KS2vI0iZyrR6u0Tk6okcZGSOGuuayt8vZ0H6vH/t4qxhveIoaXEgtdj1IjysOC9lkaRoHtsGraVGbu5QWYUsNRiThnieXd8VbXZt/Mrs8EjRK8BhZhwZ0LKxCHmgJRe0OJGcYzmtDNIogYMe0YItGTzXhnA8+oNUz3K2L/SV2LdJTHGsRkkkAySqsqlYc8NRZwNR4DieOKaWHYMxqb+xJ3TEAgumiLIa3mjE0L6A8dGI0Y6WS4CFY4lGrkPzVwM8SO/HHHOp/0FAhL7JyfCVyeWeDccV6dLWxIbRdmw20YRFa64DmToiyzHmzHvJ4munQb5N/+tD6GpPlyHm5OI34eKWTs46dgMjEUFsgAYAADvv8FaNKUrnKVJSlKEJSlKEKp/8AiBvsW1rF3vM8n8NMf/1q0t2d3UjsbWN0GpLWFG4KeKxqDxx5xVO9IS+H7w2lmO0qGFHHw26yU/wtP7q+gdNdYyFBzUjDB0ivbeO6igRTVxVZdP8Au/1+zROoy9tKG9PVvhHH7+rPqU1ldGW3vC9mQOTl0XqZPPqj4ZPpK6G/aqd7SsEnhkhkGUkjaNh6GBB+Y1QvRbePs3atzs24PluVUngDImSrDPISRnI8/YqPyhk/KJMubiy/q091/UvYTqOV00pSuXqclKUoQlKUoQqA3o/LG0Phx/UFRzZvsF/gyfRUj3o/LG0Phx/UFRzZvsF/gyfRXUpboGbmcFZsn9BD+CLxCkm6Xsib9Vm/2sleFe+6Xsib9Vm/2sleFaH9Kdw+qskhi7+fielZW+Xs6D9Xj/28VYtZW+Xs+D9Xj/28VYs6YfC76InvXh7x/fDUculHgIOBnqk4/JqyOhkY2qwH93P/AK0NVxdewP8A0k+lasfoa/Kr/wDlz/60NNZc88b3fRVrKzQJV3wQuLltunT+s2f8K6+pHWu6DfJv/wBaH0NWR07XwM9nHEVeWPr2dM+SHVArP5gdJ9JxwrG6CgdF9k5PhK5I4ccNnhSzlEP9LEPw/wByQMd/omNp+N27AK0qUpXNFpSlKUISvK6uFjRnc4VFLMfMFGSf3A161XHTbvP1FkLdD+MuTg+iNSC5+M6V9ILeapclKumo7ILdJ7tJ6gsXOsiq1PQraNfbXu9oyDgmrTnuaYkAA/oxKy/tCr3qH9FG63gGzIUcYlk/HS9xDSAYUjzqgRT6VNTCuyNaGNDW4BLkqmOnvdN1MW07bKvEyLKV5jDfipfWGwp9aearnrwvrJJonilUNHIhRlPIqwwQfiNekVuKFD9yd6Ev7OOdcBsaZFHtZFxqHq4gj0MK3tUbYSy7ubXaCYlrSbHa88ZPYl4e3TiGA/S/Rq8IpQyhlIIIBBByCDyII5jFcqy1k0yMc2fUdePDq4KdDfaC7UpSki2pSlKEKgN6PyxtD4cf1BUc2b7Bf4Mn0VI96PyxtD4cf1BUc2b7Bf4Mn0V1KW6Bm5nBWbJ/QQ/gi8QpJul7Im/VZv8AayV4V77peyJv1Wb/AGsleFaH9Kdw+qskhi7+fielZW+Xs6D9Xj/28VYtZW+Xs6D9Xj/28VYs6YfC76InvXh7x/fDUdufYH/pJ9K1u9gbwz207yWhUM1sYDIRnRl0YlAeDMNGOPAZ45xioxLGDbsWHaWGHTwHLh2gfWWHxVKN39ly3twtrZhdYTU7HgkSDALMBxJywAUd5HKmga4HmY1PVWiQPiwIjSZo0YGMu0usl9B1kdmrRhXF0EPEtJK5LHJ1O7HmzsePrY1O+grOi+1Yz4Succs4bOKwukLcuDZwsFiy8jtcGWZvLkISPn+aoycKOAz3nJO16D4h1N63eb1h8lQR9Y0ny4zNycRpvJs39aVT00JuAyI0WWhxAbqAAv337h3qy6UpXOkpSlKUIXldXKxozyMFRFLMx5AKMkn1AVTO6Vm23tutdSqfBbcq2k8tKk9TGfSzBnI5cHHeKzOlve17mZdl2ILu7qsunvbPZiB9BwzHuwB3NVrbg7nR7NskgXBfy5XHt5CO0fgjAA9AHfmui8m8mGBD8piDnOw2D9+G9Q4z6mgUjpSlWxaEpSlCFFukPcaPaloYmwsqZaGQ+0fHI446GwAR6jzAqrOjbfSWxnbZe08oUfRGze0b8xj3xtwKsOHEdxGL8qC9KHRkm1Ig8ZVLqMEI55MPc5CBnTzwfaknzkGHOycOcgmFE7dR1hZNcWmoUgpVQ7i9JEtpL/R+2AY2jOhZX5r+asp71xyk5YxnhxFvA1yqfyfGkYubiDcdBCnMeHCoSlKUvWaoDej8sbQ+HH9QVHNm+wX+DJ9FSPej8sbQ+HH9QVh9Hm7nhwNuZWjBhmbUqB+IZANeeS4c8sEnvrqEJ7Ycq17zQBrCflT+WjNgysN7vYiC7a5o+qyN2LuOO5k62QIrQsmo5OC8DoDgcSMsOVZ/gdp/eMXyJf5a128WyI7a7lgZHlEegB3iBY5RSeKrjTknFa/RD73/APZP8tYGGItIjXG8DADDRiE5lo5czOQ3gA1xN+JN9x161IfA7T+8YvkS/wAtYW9F7HLfRGGQOoiC5GRnRCingeI4qa1eiH3v/wCyf5az939mRz3cEKo0XWuyl1iGoARu3DUuMZUZ9Ga8EIQiYjiTQHEDCl+A2L2YjFozsR4IbTA3+s03CgvuGlaS7gU2QYqNQhTB7+77TVkdCsKrtRgoAH9HvwH+NDUU393Z8AXqBK8g8FRizIEGes09jHdheIOSMjjxrf8ARxtyGzvZri4fTHHs1yTzJPXQ4VR3sTwAphKRRFsvaagk07kinnwo0o+IxtOawYCtQ5wPbRSXp0/rNn/CuvqR1j9CPse8/Xn+ola3bJv94ZoGW2NnZxlysznLssgUEqvDJIUYwMDPlGrF3b3agsYBDbJhebE8Wdu9nPeTj1DkMCkHKOdgZswWuq40w0UNb/BJIcasu2DTBxNd4A+i2tKUqhLxKr7pS6SBYxmC3YG6cevqlI8s/pn2o+M8MBuOkfpUjsg0FsRJdEYPesWe9vzn8y/GfMfHop6KZBINobUBadj1kcT8WViciWXP9p3hfa5yePBbfkPIRjETEwOboB07Ts47sY8WLS4LO6GejRrRfDbxc3Uq5QNxaNG4ktnlK2ePeBw5lhVqUpXQlESlKUISlKUISlKUIUS3/wCji22pF+MGidVIjmUcR6HHt0z3HlxwRk1U+zN5No7AmFrtKJpbXOI3HawB3wOeBGP7NsEcPJ7/AKFrD2rsiG5iaK5iWSNhxVhkegjzEdxHEd1R5mVhTUMw4raj+YL0OLTULQ7E2/b3cQltpVkQ8OHMHzMp4qfQa2FVbtzoZvLGU3OwrluHEws2Gxz0hj2JF/Rfzcya42H0zmN+o2vbPbyjgXCMB63iPbX1jI9AqgZQ5NRoNXy/Pbq0jx6uxS2RgcVoukjYNxa3892YmktrjSS6DOghQMOO7lz5HPPIIqD7H2tHFFpYyA9pTp1AFWIJVsEalOBwPDhX05sza8Fymu3mSVPOjBseg45H0GszFewcvugQhBiwqkUGNMLhUUKnwpqLDAAoQK0DhUXkE94BXzKd44iSxMrM2Ms2p2OBgZZiTgAADzU8Y4f0/k/9a+msUxXvpDD9yfn/AOqYsy5Nw2hrLIA0Bv7r5l8Y4f0/k/8AWg3jiBBDSqwOQy6kYZBBwykEZBI9RNfTWKYo9IYfufz/APVD8uTb2lr7JB0Fv7r5a2ntiKSJlBkLaAi6tRCqGzpXJIVefAYFTbcLcSS/njurqHTaR8UV+cxHLs+55wTngcYGcnF34pWEflE50IshMsk6bVaVxpcL9qXRpqLGBaaAGlzRQXEkd5K4Armse+2jFCheaVI0HtnYKP3k1XG8vTlbx5SxjNxJyDEFY8+geW/HuAHrpJKyExNmkFhO3R24KI5wbirIvr+OGNpJpFjRRlmYhQPWTVRb09K1xey+CbFjkJc6etUHW3n6sf2a+dzx+DzrrY9He2NsyLLtOVreDOVVhggf+Hb8NJ7tT4PwquLdPciz2dHotIgpIGuRu1I+Pz383oGAO4Vecm8nIUuREmOc7VoHj/LlGfGJuChvRp0NJZlbm+Imu86lHlJET3jPlyfpcgeXLUbQpSrUtCUpShCUpShCUpShCUpShCUpShCVrNu7s2t4mi7t45V7tQ4j4LDtL8RFbOlCFUW1OgJUcy7LvpraTiQrEkeoSKQ4Hr1Vglt6LHg8Ed6gwNS4c/FpKSH1lTV111flUaPKQJgUisDt4+qyDiMFSq9NrQkLfbLuID/95LIqfTWfD06bNYcevU+Yxg/VY1a155B+L6a+X+kTy5fhR/VWk8Tk3IPNzSNxP1qs884K1X6Z9lAZE7n0CKTPzrisOfp12ao7IuH9AjA+s4r58re7p+U3rT6TWpvJeSHtHr/Ze59ytG46eg7abTZ8sjHlqYA/IRWJ/fXmNsbz33C3s/BkJ8ooIuHnLTnJ9airZ3O9jj4/rtW8HM1Pg5EkYN7YYO+/isTEcdKpSx6A7m4cSbW2izn81C0jY83WScF9QUirJ3Z6PLCwwba2UP7o3bk+W3FfUuB6KklKbABooFrSlKV6hKUpQhKUpQhKUpQhf//Z"/>
          <p:cNvSpPr>
            <a:spLocks noChangeAspect="1" noChangeArrowheads="1"/>
          </p:cNvSpPr>
          <p:nvPr userDrawn="1">
            <p:custDataLst>
              <p:tags r:id="rId13"/>
            </p:custDataLst>
          </p:nvPr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lt-LT">
              <a:solidFill>
                <a:prstClr val="black"/>
              </a:solidFill>
            </a:endParaRPr>
          </a:p>
        </p:txBody>
      </p:sp>
      <p:pic>
        <p:nvPicPr>
          <p:cNvPr id="4102" name="Picture 6" descr="https://encrypted-tbn2.gstatic.com/images?q=tbn:ANd9GcRUY-sWtLrcYoRw6n_qHrr8E0DdLz7zLLeKRz3bT8jqNGjJa8Xv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087" y="364733"/>
            <a:ext cx="2444737" cy="5439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http://sociumas.files.wordpress.com/2012/05/klaipedos_universitetas.jpg"/>
          <p:cNvPicPr>
            <a:picLocks noChangeAspect="1" noChangeArrowheads="1"/>
          </p:cNvPicPr>
          <p:nvPr userDrawn="1">
            <p:custDataLst>
              <p:tags r:id="rId15"/>
            </p:custDataLst>
          </p:nvPr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833" y="370996"/>
            <a:ext cx="439129" cy="5404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0" name="Picture 24" descr="http://g.diena.lt/00/26/356915.jpg"/>
          <p:cNvPicPr>
            <a:picLocks noChangeAspect="1" noChangeArrowheads="1"/>
          </p:cNvPicPr>
          <p:nvPr userDrawn="1">
            <p:custDataLst>
              <p:tags r:id="rId16"/>
            </p:custDataLst>
          </p:nvPr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39953" y="1196752"/>
            <a:ext cx="2631889" cy="180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2" name="Picture 26" descr="http://www.tvk.lt/ikelta_www/naujienos/2890/20121005LIGON_PAG_D0001.jpg"/>
          <p:cNvPicPr>
            <a:picLocks noChangeAspect="1" noChangeArrowheads="1"/>
          </p:cNvPicPr>
          <p:nvPr userDrawn="1">
            <p:custDataLst>
              <p:tags r:id="rId17"/>
            </p:custDataLst>
          </p:nvPr>
        </p:nvPicPr>
        <p:blipFill rotWithShape="1"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" r="-124" b="10618"/>
          <a:stretch/>
        </p:blipFill>
        <p:spPr bwMode="auto">
          <a:xfrm>
            <a:off x="4139952" y="2996953"/>
            <a:ext cx="2631890" cy="17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25" name="Picture 29" descr="http://www.15min.lt/images/photos/616308/big/1323261457jurininkaiint..jpg"/>
          <p:cNvPicPr>
            <a:picLocks noChangeAspect="1" noChangeArrowheads="1"/>
          </p:cNvPicPr>
          <p:nvPr userDrawn="1">
            <p:custDataLst>
              <p:tags r:id="rId18"/>
            </p:custDataLst>
          </p:nvPr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71842" y="2996954"/>
            <a:ext cx="2372158" cy="17621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http://www.siluteszinios.lt/wp-content/uploads/2011/04/sil_ligonine9992.jpg"/>
          <p:cNvPicPr>
            <a:picLocks noChangeAspect="1" noChangeArrowheads="1"/>
          </p:cNvPicPr>
          <p:nvPr userDrawn="1">
            <p:custDataLst>
              <p:tags r:id="rId19"/>
            </p:custDataLst>
          </p:nvPr>
        </p:nvPicPr>
        <p:blipFill rotWithShape="1"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07"/>
          <a:stretch/>
        </p:blipFill>
        <p:spPr bwMode="auto">
          <a:xfrm>
            <a:off x="6771841" y="1196752"/>
            <a:ext cx="2372159" cy="18162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7" name="Straight Connector 16"/>
          <p:cNvCxnSpPr/>
          <p:nvPr userDrawn="1">
            <p:custDataLst>
              <p:tags r:id="rId20"/>
            </p:custDataLst>
          </p:nvPr>
        </p:nvCxnSpPr>
        <p:spPr>
          <a:xfrm>
            <a:off x="0" y="1196752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2189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035897-1CFE-4795-BAB3-EAD79EB342FB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820980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BD3E94-8473-4201-A1D7-D9DBF84787A7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4723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7777C5-FFF7-4F6E-89A1-1C5E126ED171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58466" y="414681"/>
            <a:ext cx="8229600" cy="487362"/>
          </a:xfrm>
        </p:spPr>
        <p:txBody>
          <a:bodyPr>
            <a:normAutofit/>
          </a:bodyPr>
          <a:lstStyle>
            <a:lvl1pPr algn="l">
              <a:defRPr sz="2400" b="1">
                <a:solidFill>
                  <a:schemeClr val="tx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9" name="Content Placeholder 2"/>
          <p:cNvSpPr>
            <a:spLocks noGrp="1"/>
          </p:cNvSpPr>
          <p:nvPr>
            <p:ph idx="1"/>
            <p:custDataLst>
              <p:tags r:id="rId2"/>
            </p:custDataLst>
          </p:nvPr>
        </p:nvSpPr>
        <p:spPr>
          <a:xfrm>
            <a:off x="381000" y="1341437"/>
            <a:ext cx="8229600" cy="4525963"/>
          </a:xfrm>
        </p:spPr>
        <p:txBody>
          <a:bodyPr/>
          <a:lstStyle>
            <a:lvl1pPr marL="342900" indent="-342900">
              <a:buFont typeface="Wingdings" pitchFamily="2" charset="2"/>
              <a:buChar char="§"/>
              <a:defRPr sz="2000">
                <a:latin typeface="+mj-lt"/>
              </a:defRPr>
            </a:lvl1pPr>
            <a:lvl2pPr marL="742950" indent="-285750">
              <a:buFont typeface="Arial" pitchFamily="34" charset="0"/>
              <a:buChar char="•"/>
              <a:defRPr sz="1800">
                <a:latin typeface="+mj-lt"/>
              </a:defRPr>
            </a:lvl2pPr>
            <a:lvl3pPr>
              <a:defRPr sz="1600">
                <a:latin typeface="+mj-lt"/>
              </a:defRPr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Slide Number Placeholder 5"/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6705600" y="64166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lt-LT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AA6033C-E647-4F8A-A357-27286DEAD83A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1" name="Straight Connector 10"/>
          <p:cNvCxnSpPr/>
          <p:nvPr userDrawn="1">
            <p:custDataLst>
              <p:tags r:id="rId4"/>
            </p:custDataLst>
          </p:nvPr>
        </p:nvCxnSpPr>
        <p:spPr>
          <a:xfrm>
            <a:off x="0" y="9144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>
            <p:custDataLst>
              <p:tags r:id="rId5"/>
            </p:custDataLst>
          </p:nvPr>
        </p:nvCxnSpPr>
        <p:spPr>
          <a:xfrm>
            <a:off x="0" y="6324600"/>
            <a:ext cx="9144000" cy="0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42" descr="C:\Users\Vartotojas\Desktop\image001.png"/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6105" y="6503703"/>
            <a:ext cx="2038095" cy="2666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ectangle 11"/>
          <p:cNvSpPr/>
          <p:nvPr userDrawn="1"/>
        </p:nvSpPr>
        <p:spPr>
          <a:xfrm>
            <a:off x="5940152" y="6453336"/>
            <a:ext cx="3168352" cy="2666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lt-LT" sz="1200" i="1" noProof="1">
                <a:solidFill>
                  <a:srgbClr val="1F497D">
                    <a:lumMod val="75000"/>
                  </a:srgbClr>
                </a:solidFill>
              </a:rPr>
              <a:t>Research and consulting alliance</a:t>
            </a:r>
          </a:p>
        </p:txBody>
      </p:sp>
    </p:spTree>
    <p:extLst>
      <p:ext uri="{BB962C8B-B14F-4D97-AF65-F5344CB8AC3E}">
        <p14:creationId xmlns:p14="http://schemas.microsoft.com/office/powerpoint/2010/main" val="38496489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119DA7A-D5B3-483B-9045-6F19F53AE91B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07780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572F8EB-B911-4C69-A7BB-127A5DB96B66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78614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7B40B2-D7A0-49F2-B980-9966DB1121D0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3794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589841C-E080-4B12-A477-5C5E915EF42C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53848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0CEDFD-46E9-428D-840C-922D5B58059F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58387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D0F926D-A98E-45EF-9D60-7F331E9FE1AF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33403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smtClean="0"/>
              <a:t>Click icon to add picture</a:t>
            </a:r>
            <a:endParaRPr lang="lt-L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3F6AFE-7B81-4D3F-A0CB-F7253A39A3BD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736339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lt-L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lt-L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68BBE8-32D4-49CD-9440-2D2F19FD2DA4}" type="datetime1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2016-09-07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4CB9F8-77B5-4921-A094-B1BD9F0E400E}" type="slidenum">
              <a:rPr lang="lt-LT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lt-LT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5900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lt-L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://www.smartcontinent.com/" TargetMode="External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27.xml"/><Relationship Id="rId7" Type="http://schemas.openxmlformats.org/officeDocument/2006/relationships/image" Target="../media/image1.emf"/><Relationship Id="rId2" Type="http://schemas.openxmlformats.org/officeDocument/2006/relationships/tags" Target="../tags/tag26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10.jpeg"/><Relationship Id="rId5" Type="http://schemas.openxmlformats.org/officeDocument/2006/relationships/slideLayout" Target="../slideLayouts/slideLayout2.xml"/><Relationship Id="rId10" Type="http://schemas.openxmlformats.org/officeDocument/2006/relationships/hyperlink" Target="http://www.smartcontinent.com/" TargetMode="External"/><Relationship Id="rId4" Type="http://schemas.openxmlformats.org/officeDocument/2006/relationships/tags" Target="../tags/tag28.xml"/><Relationship Id="rId9" Type="http://schemas.openxmlformats.org/officeDocument/2006/relationships/hyperlink" Target="mailto:info@smartcontinent.lv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lv-LV" dirty="0" err="1" smtClean="0"/>
              <a:t>Presentation</a:t>
            </a:r>
            <a:r>
              <a:rPr lang="lv-LV" dirty="0" smtClean="0"/>
              <a:t> </a:t>
            </a:r>
            <a:r>
              <a:rPr lang="lv-LV" dirty="0" err="1" smtClean="0"/>
              <a:t>for</a:t>
            </a:r>
            <a:r>
              <a:rPr lang="lv-LV" dirty="0" smtClean="0"/>
              <a:t> </a:t>
            </a:r>
            <a:r>
              <a:rPr lang="lv-LV" dirty="0" err="1" smtClean="0"/>
              <a:t>Canadian</a:t>
            </a:r>
            <a:r>
              <a:rPr lang="lv-LV" dirty="0" smtClean="0"/>
              <a:t> </a:t>
            </a:r>
            <a:r>
              <a:rPr lang="lv-LV" dirty="0" err="1" smtClean="0"/>
              <a:t>Chamber</a:t>
            </a:r>
            <a:r>
              <a:rPr lang="lv-LV" dirty="0" smtClean="0"/>
              <a:t> </a:t>
            </a:r>
            <a:r>
              <a:rPr lang="lv-LV" dirty="0" err="1" smtClean="0"/>
              <a:t>of</a:t>
            </a:r>
            <a:r>
              <a:rPr lang="lv-LV" dirty="0" smtClean="0"/>
              <a:t> </a:t>
            </a:r>
            <a:r>
              <a:rPr lang="lv-LV" dirty="0" err="1" smtClean="0"/>
              <a:t>Commerce</a:t>
            </a:r>
            <a:r>
              <a:rPr lang="lv-LV" dirty="0" smtClean="0"/>
              <a:t>, 7.sept.2016</a:t>
            </a:r>
            <a:endParaRPr lang="lv-LV" dirty="0"/>
          </a:p>
        </p:txBody>
      </p:sp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466" y="2132856"/>
            <a:ext cx="8304918" cy="1080120"/>
          </a:xfrm>
        </p:spPr>
      </p:pic>
      <p:sp>
        <p:nvSpPr>
          <p:cNvPr id="5" name="TextBox 4"/>
          <p:cNvSpPr txBox="1"/>
          <p:nvPr/>
        </p:nvSpPr>
        <p:spPr>
          <a:xfrm>
            <a:off x="755576" y="3573016"/>
            <a:ext cx="751167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lv-LV" sz="5400" dirty="0" smtClean="0">
                <a:hlinkClick r:id="rId3"/>
              </a:rPr>
              <a:t>www.smartcontinent.com</a:t>
            </a:r>
            <a:endParaRPr lang="lv-LV" sz="5400" dirty="0" smtClean="0"/>
          </a:p>
          <a:p>
            <a:pPr algn="ctr"/>
            <a:r>
              <a:rPr lang="lv-LV" sz="5400" dirty="0" smtClean="0">
                <a:solidFill>
                  <a:schemeClr val="accent1">
                    <a:lumMod val="75000"/>
                  </a:schemeClr>
                </a:solidFill>
              </a:rPr>
              <a:t>Gints </a:t>
            </a:r>
            <a:r>
              <a:rPr lang="lv-LV" sz="5400" dirty="0" err="1" smtClean="0">
                <a:solidFill>
                  <a:schemeClr val="accent1">
                    <a:lumMod val="75000"/>
                  </a:schemeClr>
                </a:solidFill>
              </a:rPr>
              <a:t>Turlajs</a:t>
            </a:r>
            <a:endParaRPr lang="lv-LV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531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000" y="260648"/>
            <a:ext cx="8229600" cy="487362"/>
          </a:xfrm>
        </p:spPr>
        <p:txBody>
          <a:bodyPr>
            <a:noAutofit/>
          </a:bodyPr>
          <a:lstStyle/>
          <a:p>
            <a:r>
              <a:rPr lang="lv-LV" sz="4800" dirty="0" err="1" smtClean="0"/>
              <a:t>Who</a:t>
            </a:r>
            <a:r>
              <a:rPr lang="lv-LV" sz="4800" dirty="0" smtClean="0"/>
              <a:t> </a:t>
            </a:r>
            <a:r>
              <a:rPr lang="lv-LV" sz="4800" dirty="0" err="1" smtClean="0"/>
              <a:t>we</a:t>
            </a:r>
            <a:r>
              <a:rPr lang="lv-LV" sz="4800" dirty="0" smtClean="0"/>
              <a:t> </a:t>
            </a:r>
            <a:r>
              <a:rPr lang="lv-LV" sz="4800" dirty="0" err="1" smtClean="0"/>
              <a:t>are</a:t>
            </a:r>
            <a:endParaRPr lang="lv-LV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52737"/>
            <a:ext cx="8229600" cy="5256584"/>
          </a:xfrm>
        </p:spPr>
        <p:txBody>
          <a:bodyPr>
            <a:normAutofit fontScale="77500" lnSpcReduction="20000"/>
          </a:bodyPr>
          <a:lstStyle/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Research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consulting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lliance</a:t>
            </a:r>
            <a:endParaRPr lang="lv-LV" sz="36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ldes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member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llianc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founde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1992</a:t>
            </a: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Rename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to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Smar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Continen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Latvia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2013</a:t>
            </a: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Majority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ork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don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for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governmen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r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EU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relate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ork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bu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gladly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ork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ith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corporat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customer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f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it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doe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no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conflic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ith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ur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other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projects</a:t>
            </a:r>
            <a:endParaRPr lang="lv-LV" sz="36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Bigges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focu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point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Latvia: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valuation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valuation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xper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service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tc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Biggest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focu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points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Lithuania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: transport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ducation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tc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re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highly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educate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with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scientific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academia</a:t>
            </a:r>
            <a:r>
              <a:rPr lang="lv-LV" sz="36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600" dirty="0" err="1" smtClean="0">
                <a:solidFill>
                  <a:schemeClr val="accent1">
                    <a:lumMod val="75000"/>
                  </a:schemeClr>
                </a:solidFill>
              </a:rPr>
              <a:t>background</a:t>
            </a:r>
            <a:endParaRPr lang="lv-LV" sz="36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lv-LV" sz="3200" dirty="0" smtClean="0"/>
          </a:p>
          <a:p>
            <a:endParaRPr lang="lv-LV" dirty="0" smtClean="0"/>
          </a:p>
          <a:p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12289980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403" y="332656"/>
            <a:ext cx="8229600" cy="487362"/>
          </a:xfrm>
        </p:spPr>
        <p:txBody>
          <a:bodyPr>
            <a:noAutofit/>
          </a:bodyPr>
          <a:lstStyle/>
          <a:p>
            <a:r>
              <a:rPr lang="lv-LV" sz="4800" dirty="0" err="1" smtClean="0"/>
              <a:t>How</a:t>
            </a:r>
            <a:r>
              <a:rPr lang="lv-LV" sz="4800" dirty="0" smtClean="0"/>
              <a:t> </a:t>
            </a:r>
            <a:r>
              <a:rPr lang="lv-LV" sz="4800" dirty="0" err="1" smtClean="0"/>
              <a:t>can</a:t>
            </a:r>
            <a:r>
              <a:rPr lang="lv-LV" sz="4800" dirty="0" smtClean="0"/>
              <a:t> </a:t>
            </a:r>
            <a:r>
              <a:rPr lang="lv-LV" sz="4800" dirty="0" err="1" smtClean="0"/>
              <a:t>we</a:t>
            </a:r>
            <a:r>
              <a:rPr lang="lv-LV" sz="4800" dirty="0" smtClean="0"/>
              <a:t> </a:t>
            </a:r>
            <a:r>
              <a:rPr lang="lv-LV" sz="4800" dirty="0" err="1" smtClean="0"/>
              <a:t>help</a:t>
            </a:r>
            <a:r>
              <a:rPr lang="lv-LV" sz="4800" dirty="0" smtClean="0"/>
              <a:t> </a:t>
            </a:r>
            <a:r>
              <a:rPr lang="lv-LV" sz="4800" dirty="0" err="1" smtClean="0"/>
              <a:t>You</a:t>
            </a:r>
            <a:endParaRPr lang="lv-LV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Just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sk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…</a:t>
            </a:r>
            <a:endParaRPr lang="lv-LV" sz="32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W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hav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xtremel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larg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network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xperts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bes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specialists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differen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fields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W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manag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to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fin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mos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rar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narrowl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define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xperts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tha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th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beginning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seem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to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b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mpossibl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to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find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W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lso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perform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differen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cluding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corporat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tellectual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propert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valuations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offer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ISO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other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qualit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standar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troductio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tc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  <a:endParaRPr lang="lv-LV" sz="3200" dirty="0">
              <a:solidFill>
                <a:schemeClr val="accent1">
                  <a:lumMod val="75000"/>
                </a:schemeClr>
              </a:solidFill>
            </a:endParaRPr>
          </a:p>
          <a:p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dirty="0" smtClean="0"/>
          </a:p>
          <a:p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3936805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7403" y="332656"/>
            <a:ext cx="8229600" cy="487362"/>
          </a:xfrm>
        </p:spPr>
        <p:txBody>
          <a:bodyPr>
            <a:noAutofit/>
          </a:bodyPr>
          <a:lstStyle/>
          <a:p>
            <a:r>
              <a:rPr lang="lv-LV" sz="4800" dirty="0" err="1" smtClean="0"/>
              <a:t>Some</a:t>
            </a:r>
            <a:r>
              <a:rPr lang="lv-LV" sz="4800" dirty="0" smtClean="0"/>
              <a:t> </a:t>
            </a:r>
            <a:r>
              <a:rPr lang="lv-LV" sz="4800" dirty="0" err="1" smtClean="0"/>
              <a:t>of</a:t>
            </a:r>
            <a:r>
              <a:rPr lang="lv-LV" sz="4800" dirty="0" smtClean="0"/>
              <a:t> </a:t>
            </a:r>
            <a:r>
              <a:rPr lang="lv-LV" sz="4800" dirty="0" err="1" smtClean="0"/>
              <a:t>our</a:t>
            </a:r>
            <a:r>
              <a:rPr lang="lv-LV" sz="4800" dirty="0" smtClean="0"/>
              <a:t> </a:t>
            </a:r>
            <a:r>
              <a:rPr lang="lv-LV" sz="4800" dirty="0" err="1" smtClean="0"/>
              <a:t>principles</a:t>
            </a:r>
            <a:endParaRPr lang="lv-LV" sz="48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on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wor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xcellence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Best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competence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Strictl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voi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y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conflic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terest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Triple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helix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pproach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: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cooperatio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between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cademia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/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science</a:t>
            </a:r>
            <a:r>
              <a:rPr lang="lv-LV" sz="3200" dirty="0">
                <a:solidFill>
                  <a:schemeClr val="accent1">
                    <a:lumMod val="75000"/>
                  </a:schemeClr>
                </a:solidFill>
              </a:rPr>
              <a:t>,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government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dustry</a:t>
            </a: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endParaRPr lang="lv-LV" sz="3200" dirty="0" smtClean="0"/>
          </a:p>
          <a:p>
            <a:endParaRPr lang="lv-LV" sz="3200" dirty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sz="3200" dirty="0" smtClean="0"/>
          </a:p>
          <a:p>
            <a:endParaRPr lang="lv-LV" dirty="0" smtClean="0"/>
          </a:p>
          <a:p>
            <a:endParaRPr lang="lv-LV" dirty="0"/>
          </a:p>
        </p:txBody>
      </p:sp>
    </p:spTree>
    <p:extLst>
      <p:ext uri="{BB962C8B-B14F-4D97-AF65-F5344CB8AC3E}">
        <p14:creationId xmlns:p14="http://schemas.microsoft.com/office/powerpoint/2010/main" val="777060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487362"/>
          </a:xfrm>
        </p:spPr>
        <p:txBody>
          <a:bodyPr>
            <a:noAutofit/>
          </a:bodyPr>
          <a:lstStyle/>
          <a:p>
            <a:pPr eaLnBrk="1" hangingPunct="1"/>
            <a:r>
              <a:rPr lang="lv-LV" altLang="lv-LV" sz="4800" dirty="0" err="1" smtClean="0"/>
              <a:t>In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short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about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me</a:t>
            </a:r>
            <a:endParaRPr lang="lv-LV" altLang="lv-LV" sz="4800" dirty="0" smtClean="0"/>
          </a:p>
        </p:txBody>
      </p:sp>
      <p:sp>
        <p:nvSpPr>
          <p:cNvPr id="4099" name="Content Placeholder 2"/>
          <p:cNvSpPr>
            <a:spLocks noGrp="1"/>
          </p:cNvSpPr>
          <p:nvPr>
            <p:ph idx="1"/>
          </p:nvPr>
        </p:nvSpPr>
        <p:spPr>
          <a:xfrm>
            <a:off x="464664" y="1196752"/>
            <a:ext cx="8229600" cy="4784725"/>
          </a:xfrm>
        </p:spPr>
        <p:txBody>
          <a:bodyPr>
            <a:noAutofit/>
          </a:bodyPr>
          <a:lstStyle/>
          <a:p>
            <a:pPr eaLnBrk="1" hangingPunct="1">
              <a:buFont typeface="Arial" charset="0"/>
              <a:buChar char="•"/>
              <a:defRPr/>
            </a:pP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Graduated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4 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universities: Stockholm School of Economics in Riga, University of Southern Denmark, University of Latvia, Riga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Technical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University</a:t>
            </a:r>
            <a:endParaRPr lang="lv-LV" alt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PhD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candidate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, 2 +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masters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degrees</a:t>
            </a:r>
            <a:endParaRPr lang="lv-LV" altLang="lv-LV" sz="32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eaLnBrk="1" hangingPunct="1">
              <a:buFont typeface="Arial" charset="0"/>
              <a:buChar char="•"/>
              <a:defRPr/>
            </a:pP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CEO of Smart Continent LV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Ekoterm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smtClean="0">
                <a:solidFill>
                  <a:schemeClr val="accent1">
                    <a:lumMod val="75000"/>
                  </a:schemeClr>
                </a:solidFill>
              </a:rPr>
              <a:t>SIA</a:t>
            </a:r>
          </a:p>
          <a:p>
            <a:pPr>
              <a:buFont typeface="Arial" charset="0"/>
              <a:buChar char="•"/>
              <a:defRPr/>
            </a:pP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Have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worked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for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European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Commission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, SEB banka, Latvijas Banka,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Ministry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Economics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newspaper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Diena,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have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lead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>
                <a:solidFill>
                  <a:schemeClr val="accent1">
                    <a:lumMod val="75000"/>
                  </a:schemeClr>
                </a:solidFill>
              </a:rPr>
              <a:t>own</a:t>
            </a:r>
            <a:r>
              <a:rPr lang="lv-LV" altLang="lv-LV" sz="32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businesses</a:t>
            </a:r>
            <a:endParaRPr lang="lv-LV" altLang="lv-LV" sz="3200" dirty="0">
              <a:solidFill>
                <a:schemeClr val="accent1">
                  <a:lumMod val="75000"/>
                </a:schemeClr>
              </a:solidFill>
            </a:endParaRPr>
          </a:p>
          <a:p>
            <a:pPr eaLnBrk="1" hangingPunct="1">
              <a:buFont typeface="Arial" charset="0"/>
              <a:buChar char="•"/>
              <a:defRPr/>
            </a:pPr>
            <a:endParaRPr lang="lv-LV" altLang="lv-LV" sz="3200" dirty="0" smtClean="0"/>
          </a:p>
        </p:txBody>
      </p:sp>
    </p:spTree>
    <p:extLst>
      <p:ext uri="{BB962C8B-B14F-4D97-AF65-F5344CB8AC3E}">
        <p14:creationId xmlns:p14="http://schemas.microsoft.com/office/powerpoint/2010/main" val="1202635632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Title 1"/>
          <p:cNvSpPr>
            <a:spLocks noGrp="1"/>
          </p:cNvSpPr>
          <p:nvPr>
            <p:ph type="title"/>
          </p:nvPr>
        </p:nvSpPr>
        <p:spPr>
          <a:xfrm>
            <a:off x="457200" y="332656"/>
            <a:ext cx="8229600" cy="487362"/>
          </a:xfrm>
        </p:spPr>
        <p:txBody>
          <a:bodyPr>
            <a:noAutofit/>
          </a:bodyPr>
          <a:lstStyle/>
          <a:p>
            <a:pPr eaLnBrk="1" hangingPunct="1"/>
            <a:r>
              <a:rPr lang="lv-LV" altLang="lv-LV" sz="4800" dirty="0" err="1" smtClean="0"/>
              <a:t>In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short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about</a:t>
            </a:r>
            <a:r>
              <a:rPr lang="lv-LV" altLang="lv-LV" sz="4800" dirty="0" smtClean="0"/>
              <a:t> </a:t>
            </a:r>
            <a:r>
              <a:rPr lang="lv-LV" altLang="lv-LV" sz="4800" dirty="0" err="1" smtClean="0"/>
              <a:t>me</a:t>
            </a:r>
            <a:endParaRPr lang="lv-LV" altLang="lv-LV" sz="4800" dirty="0" smtClean="0"/>
          </a:p>
        </p:txBody>
      </p:sp>
      <p:sp>
        <p:nvSpPr>
          <p:cNvPr id="7171" name="Content Placeholder 2"/>
          <p:cNvSpPr>
            <a:spLocks noGrp="1"/>
          </p:cNvSpPr>
          <p:nvPr>
            <p:ph idx="1"/>
          </p:nvPr>
        </p:nvSpPr>
        <p:spPr>
          <a:xfrm>
            <a:off x="251520" y="1052736"/>
            <a:ext cx="8784976" cy="5073427"/>
          </a:xfrm>
        </p:spPr>
        <p:txBody>
          <a:bodyPr>
            <a:noAutofit/>
          </a:bodyPr>
          <a:lstStyle/>
          <a:p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Board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member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business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consultants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association</a:t>
            </a:r>
            <a:endParaRPr lang="lv-LV" altLang="lv-LV" sz="2800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x-president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Latvian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Young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Scientist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 Association</a:t>
            </a:r>
          </a:p>
          <a:p>
            <a:pPr eaLnBrk="1" hangingPunct="1"/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x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-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b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ard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member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Latvian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conomists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Association</a:t>
            </a:r>
          </a:p>
          <a:p>
            <a:pPr eaLnBrk="1" hangingPunct="1"/>
            <a:r>
              <a:rPr lang="lv-LV" altLang="lv-LV" sz="3200" dirty="0" err="1" smtClean="0">
                <a:solidFill>
                  <a:schemeClr val="accent1">
                    <a:lumMod val="75000"/>
                  </a:schemeClr>
                </a:solidFill>
              </a:rPr>
              <a:t>Initiated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founding</a:t>
            </a:r>
            <a:r>
              <a:rPr lang="lv-LV" altLang="lv-LV" sz="2800" dirty="0">
                <a:solidFill>
                  <a:schemeClr val="accent1">
                    <a:lumMod val="75000"/>
                  </a:schemeClr>
                </a:solidFill>
              </a:rPr>
              <a:t>,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managed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AEGEE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Riga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, ESN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Riga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tc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eaLnBrk="1" hangingPunct="1"/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Co-founder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International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Insitute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Business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Analysis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Latvia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chapter</a:t>
            </a:r>
            <a:endParaRPr lang="lv-LV" altLang="lv-LV" sz="2800" dirty="0" smtClean="0">
              <a:solidFill>
                <a:schemeClr val="accent1">
                  <a:lumMod val="75000"/>
                </a:schemeClr>
              </a:solidFill>
            </a:endParaRPr>
          </a:p>
          <a:p>
            <a:pPr eaLnBrk="1" hangingPunct="1"/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x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-auditor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Alumni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Association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Stockholm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School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conomics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in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Riga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x-board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member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Alumni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and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friends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association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of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Riga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State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 1st </a:t>
            </a:r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G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ymnasium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  <a:p>
            <a:pPr eaLnBrk="1" hangingPunct="1"/>
            <a:r>
              <a:rPr lang="lv-LV" altLang="lv-LV" sz="2800" dirty="0" err="1">
                <a:solidFill>
                  <a:schemeClr val="accent1">
                    <a:lumMod val="75000"/>
                  </a:schemeClr>
                </a:solidFill>
              </a:rPr>
              <a:t>e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tc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., </a:t>
            </a:r>
            <a:r>
              <a:rPr lang="lv-LV" altLang="lv-LV" sz="2800" dirty="0" err="1" smtClean="0">
                <a:solidFill>
                  <a:schemeClr val="accent1">
                    <a:lumMod val="75000"/>
                  </a:schemeClr>
                </a:solidFill>
              </a:rPr>
              <a:t>etc</a:t>
            </a:r>
            <a:r>
              <a:rPr lang="lv-LV" altLang="lv-LV" sz="2800" dirty="0" smtClean="0">
                <a:solidFill>
                  <a:schemeClr val="accent1">
                    <a:lumMod val="75000"/>
                  </a:schemeClr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9669877"/>
      </p:ext>
    </p:extLst>
  </p:cSld>
  <p:clrMapOvr>
    <a:masterClrMapping/>
  </p:clrMapOvr>
  <p:transition spd="slow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852304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6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lt-LT" sz="1000" b="1">
              <a:latin typeface="Calibri"/>
              <a:sym typeface="Calibri"/>
            </a:endParaRPr>
          </a:p>
        </p:txBody>
      </p:sp>
      <p:sp>
        <p:nvSpPr>
          <p:cNvPr id="53" name="Title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13183" y="332656"/>
            <a:ext cx="8229600" cy="487362"/>
          </a:xfrm>
        </p:spPr>
        <p:txBody>
          <a:bodyPr>
            <a:noAutofit/>
          </a:bodyPr>
          <a:lstStyle/>
          <a:p>
            <a:r>
              <a:rPr lang="lv-LV" sz="4800" dirty="0" err="1"/>
              <a:t>How</a:t>
            </a:r>
            <a:r>
              <a:rPr lang="lv-LV" sz="4800" dirty="0"/>
              <a:t> </a:t>
            </a:r>
            <a:r>
              <a:rPr lang="lv-LV" sz="4800" dirty="0" err="1"/>
              <a:t>can</a:t>
            </a:r>
            <a:r>
              <a:rPr lang="lv-LV" sz="4800" dirty="0"/>
              <a:t> </a:t>
            </a:r>
            <a:r>
              <a:rPr lang="lv-LV" sz="4800" dirty="0" err="1"/>
              <a:t>You</a:t>
            </a:r>
            <a:r>
              <a:rPr lang="lv-LV" sz="4800" dirty="0"/>
              <a:t> </a:t>
            </a:r>
            <a:r>
              <a:rPr lang="lv-LV" sz="4800" dirty="0" err="1"/>
              <a:t>find</a:t>
            </a:r>
            <a:r>
              <a:rPr lang="lv-LV" sz="4800" dirty="0"/>
              <a:t> </a:t>
            </a:r>
            <a:r>
              <a:rPr lang="lv-LV" sz="4800" dirty="0" err="1"/>
              <a:t>us</a:t>
            </a:r>
            <a:endParaRPr lang="en-US" sz="4800" dirty="0"/>
          </a:p>
        </p:txBody>
      </p:sp>
      <p:pic>
        <p:nvPicPr>
          <p:cNvPr id="54" name="Picture 442" descr="C:\Users\Vartotojas\Desktop\image001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3" y="4556580"/>
            <a:ext cx="2388999" cy="3125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313183" y="1340768"/>
            <a:ext cx="3970785" cy="352839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lt-LT" sz="2000" b="1" dirty="0" smtClean="0">
                <a:solidFill>
                  <a:schemeClr val="tx2">
                    <a:lumMod val="75000"/>
                  </a:schemeClr>
                </a:solidFill>
              </a:rPr>
              <a:t>Smart Continent </a:t>
            </a:r>
            <a:r>
              <a:rPr lang="lt-LT" sz="2000" b="1" dirty="0" smtClean="0">
                <a:solidFill>
                  <a:schemeClr val="tx2">
                    <a:lumMod val="75000"/>
                  </a:schemeClr>
                </a:solidFill>
              </a:rPr>
              <a:t>LV Ekoterm SIA</a:t>
            </a:r>
            <a:endParaRPr lang="lt-LT" sz="2000" b="1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lt-LT" b="1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lt-LT" b="1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t-LT" sz="2400" dirty="0" err="1" smtClean="0">
                <a:solidFill>
                  <a:schemeClr val="tx2">
                    <a:lumMod val="75000"/>
                  </a:schemeClr>
                </a:solidFill>
              </a:rPr>
              <a:t>Address</a:t>
            </a:r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:</a:t>
            </a:r>
          </a:p>
          <a:p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Mārstaļu street 2/4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v-LV" sz="2400" dirty="0" smtClean="0">
                <a:solidFill>
                  <a:schemeClr val="tx2">
                    <a:lumMod val="75000"/>
                  </a:schemeClr>
                </a:solidFill>
              </a:rPr>
              <a:t>Rīga, LV-1050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lt-LT" sz="2400" dirty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Phone: </a:t>
            </a:r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+371 29409509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Fax: +370 </a:t>
            </a:r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66002144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</a:rPr>
              <a:t>Email: </a:t>
            </a:r>
            <a:r>
              <a:rPr lang="lt-LT" sz="2400" dirty="0" smtClean="0">
                <a:solidFill>
                  <a:schemeClr val="tx2">
                    <a:lumMod val="75000"/>
                  </a:schemeClr>
                </a:solidFill>
                <a:hlinkClick r:id="rId9"/>
              </a:rPr>
              <a:t>info@smartcontinent.lv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r>
              <a:rPr lang="lt-LT" sz="2400" dirty="0" err="1" smtClean="0">
                <a:solidFill>
                  <a:schemeClr val="tx2">
                    <a:lumMod val="75000"/>
                  </a:schemeClr>
                </a:solidFill>
                <a:hlinkClick r:id="rId10"/>
              </a:rPr>
              <a:t>www.smartcontinent.com</a:t>
            </a:r>
            <a:endParaRPr lang="lt-LT" sz="240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lt-LT" sz="1600" dirty="0" smtClean="0">
              <a:solidFill>
                <a:schemeClr val="tx2">
                  <a:lumMod val="75000"/>
                </a:schemeClr>
              </a:solidFill>
            </a:endParaRPr>
          </a:p>
          <a:p>
            <a:endParaRPr lang="lt-LT" sz="1600" dirty="0">
              <a:solidFill>
                <a:schemeClr val="tx2">
                  <a:lumMod val="75000"/>
                </a:schemeClr>
              </a:solidFill>
            </a:endParaRPr>
          </a:p>
        </p:txBody>
      </p:sp>
      <p:pic>
        <p:nvPicPr>
          <p:cNvPr id="72720" name="Picture 16" descr="http://www.coldwellbankerbvicommercial.com/images/consultant.jp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7983" y="1852426"/>
            <a:ext cx="3790950" cy="2505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78994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QDZWDlbkepUVV8oCOie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on7iFrQgU.lzHYovdMJ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Oqaa6j6fEKO166152uu0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aWkD_jXk2ZZWktMhq2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mIpgPnrL0Ks9gm2GoNDS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RK_tTxCEuE2lGrWlo.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VB4AfPTU66KWScWloD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DZfrzJfC0yZzaknJvx7Y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1YTYvLfkefUuhg3Yec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TPY79MLk.H5S3VmucBY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nPgLYu8eU62vCltQ48QI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bfD1R5_0.FrZUoeIZb_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elTtoSsEWU5NhuHLPk.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EcwadjhEmliFHzl50ex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BFqy6fO0i3Al.9i0mhs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CITsI6w0yQxlrP1jNkC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zYhPNcg0S96T1EnhNZO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9MXTvm5E67Sp.Z1OjP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vvn7VilLE6YaYPkxfk7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lWNYE_4hkeoHHrGQeIU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v.kM9MskOTBXhfjh69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7uv8VpHA0ad0RgJ7C4X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kN.nEkrEa9_4UMbSks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yHBi4xuUGUseknGUmjh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gqMlNb5kePKOUAszI9Tw"/>
</p:tagLst>
</file>

<file path=ppt/theme/theme1.xml><?xml version="1.0" encoding="utf-8"?>
<a:theme xmlns:a="http://schemas.openxmlformats.org/drawingml/2006/main" name="Krovimo stotelių tipai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094</TotalTime>
  <Words>360</Words>
  <Application>Microsoft Office PowerPoint</Application>
  <PresentationFormat>On-screen Show (4:3)</PresentationFormat>
  <Paragraphs>63</Paragraphs>
  <Slides>7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Calibri</vt:lpstr>
      <vt:lpstr>Wingdings</vt:lpstr>
      <vt:lpstr>Krovimo stotelių tipai</vt:lpstr>
      <vt:lpstr>think-cell Slide</vt:lpstr>
      <vt:lpstr>Presentation for Canadian Chamber of Commerce, 7.sept.2016</vt:lpstr>
      <vt:lpstr>Who we are</vt:lpstr>
      <vt:lpstr>How can we help You</vt:lpstr>
      <vt:lpstr>Some of our principles</vt:lpstr>
      <vt:lpstr>In short about me</vt:lpstr>
      <vt:lpstr>In short about me</vt:lpstr>
      <vt:lpstr>How can You find u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e6</dc:creator>
  <cp:lastModifiedBy>ko</cp:lastModifiedBy>
  <cp:revision>52</cp:revision>
  <dcterms:created xsi:type="dcterms:W3CDTF">2013-07-18T08:20:48Z</dcterms:created>
  <dcterms:modified xsi:type="dcterms:W3CDTF">2016-09-08T15:43:50Z</dcterms:modified>
</cp:coreProperties>
</file>